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68" d="100"/>
          <a:sy n="68" d="100"/>
        </p:scale>
        <p:origin x="142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1.06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3. 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20 TEMMUZ 2023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858330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3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3 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3 YILI 2. DÖNEMİ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3 YILI 2. DÖNEM 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670092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 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210277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3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7</TotalTime>
  <Words>751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Ülkü PAŞAOSMANOĞLU</cp:lastModifiedBy>
  <cp:revision>234</cp:revision>
  <cp:lastPrinted>2017-09-05T10:25:42Z</cp:lastPrinted>
  <dcterms:created xsi:type="dcterms:W3CDTF">2013-12-10T10:55:21Z</dcterms:created>
  <dcterms:modified xsi:type="dcterms:W3CDTF">2023-06-01T11:51:16Z</dcterms:modified>
</cp:coreProperties>
</file>